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Default Extension="emf" ContentType="image/x-emf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94" r:id="rId3"/>
    <p:sldId id="824" r:id="rId4"/>
    <p:sldId id="302" r:id="rId5"/>
    <p:sldId id="304" r:id="rId6"/>
    <p:sldId id="827" r:id="rId7"/>
    <p:sldId id="828" r:id="rId8"/>
    <p:sldId id="275" r:id="rId9"/>
    <p:sldId id="838" r:id="rId10"/>
    <p:sldId id="832" r:id="rId11"/>
    <p:sldId id="837" r:id="rId12"/>
    <p:sldId id="831" r:id="rId13"/>
    <p:sldId id="833" r:id="rId14"/>
    <p:sldId id="834" r:id="rId15"/>
    <p:sldId id="835" r:id="rId16"/>
    <p:sldId id="836" r:id="rId17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44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 smtClean="0">
              <a:solidFill>
                <a:schemeClr val="bg1"/>
              </a:solidFill>
            </a:rPr>
            <a:t>Региональный </a:t>
          </a:r>
          <a:endParaRPr lang="ru-RU" sz="1200" b="1" dirty="0">
            <a:solidFill>
              <a:schemeClr val="bg1"/>
            </a:solidFill>
          </a:endParaRP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 smtClean="0"/>
            <a:t>Муниципальный </a:t>
          </a:r>
          <a:r>
            <a:rPr lang="ru-RU" sz="1200" b="1" dirty="0"/>
            <a:t>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bg1"/>
              </a:solidFill>
            </a:rPr>
            <a:t>Региональный </a:t>
          </a:r>
          <a:endParaRPr lang="ru-RU" sz="1200" b="1" kern="1200" dirty="0">
            <a:solidFill>
              <a:schemeClr val="bg1"/>
            </a:solidFill>
          </a:endParaRP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Муниципальный </a:t>
          </a:r>
          <a:r>
            <a:rPr lang="ru-RU" sz="1200" b="1" kern="1200" dirty="0"/>
            <a:t>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1.05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653154-E84C-41DF-B5DA-EC6BBDAF4A2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04554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7B6EF6-91A9-45D4-90F2-6D7F1684EEA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41577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76FB03-7E63-4E96-8E71-64D8AAAA05E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76695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710540-5065-4154-B575-25F04595621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505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319B64-BEA0-4646-B2DC-9848AD041FF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8674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9D4C0B-81BA-44B0-9873-B784BFDAA5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41507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E93CF4-D6E8-4C91-A0C2-281C5183E81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66261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2BA916-F477-4046-8D7F-52FEE71D902C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9185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E3FF46-2893-462E-B2F1-225924908D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26584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D1411B-D92D-4D4A-AE7C-DA3B657800A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1857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FF3428-DA13-4CD4-A0C1-213CC02A17F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4891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1.05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83BC51-48CD-4653-BB47-5F412555657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6033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hyperlink" Target="https://disk.yandex.ru/i/LdSHz6f5w_0cKw" TargetMode="External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.png"/><Relationship Id="rId7" Type="http://schemas.openxmlformats.org/officeDocument/2006/relationships/image" Target="../media/image1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общеобразовательное учреждение основная общеобразовательная школа № 9 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.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 МБОУ ООШ №9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робейникова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.С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20097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lnSpc>
                <a:spcPct val="115000"/>
              </a:lnSpc>
              <a:spcAft>
                <a:spcPts val="0"/>
              </a:spcAft>
              <a:tabLst>
                <a:tab pos="357505" algn="l"/>
              </a:tabLst>
            </a:pP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ма проекта </a:t>
            </a:r>
            <a:r>
              <a:rPr lang="ru-RU" sz="2800" b="1" dirty="0" smtClean="0">
                <a:solidFill>
                  <a:schemeClr val="tx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800" b="1" dirty="0">
                <a:solidFill>
                  <a:schemeClr val="tx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мониторинга посещаемости уроков обучающимися  МБОУ ООШ № 9»</a:t>
            </a:r>
            <a:endParaRPr lang="ru-RU" sz="2800" dirty="0">
              <a:solidFill>
                <a:schemeClr val="tx2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баркуль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10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683568" y="1541604"/>
            <a:ext cx="8064896" cy="4839723"/>
          </a:xfrm>
        </p:spPr>
        <p:txBody>
          <a:bodyPr>
            <a:normAutofit/>
          </a:bodyPr>
          <a:lstStyle/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Разработана электронная онлайн таблица с автоматическим подсчетом данных</a:t>
            </a: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В ходе реализации проекта временные затраты на сбор данных о посещаемости  сократились в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раза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20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ут до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</a:t>
            </a: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инут.</a:t>
            </a: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Сокращение количества опозданий в результате профилактической работы с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тьми и их родителями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Автоматическая обработка и передача информации о посещаемости </a:t>
            </a:r>
          </a:p>
        </p:txBody>
      </p:sp>
      <p:pic>
        <p:nvPicPr>
          <p:cNvPr id="12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-5729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7392" y="1020121"/>
            <a:ext cx="5472608" cy="627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029352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6476" y="47428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Содержимое 4"/>
          <p:cNvGraphicFramePr>
            <a:graphicFrameLocks noGrp="1" noChangeAspect="1"/>
          </p:cNvGraphicFramePr>
          <p:nvPr>
            <p:ph idx="1"/>
            <p:extLst/>
          </p:nvPr>
        </p:nvGraphicFramePr>
        <p:xfrm>
          <a:off x="2308225" y="1600200"/>
          <a:ext cx="4279999" cy="4279999"/>
        </p:xfrm>
        <a:graphic>
          <a:graphicData uri="http://schemas.openxmlformats.org/presentationml/2006/ole">
            <p:oleObj spid="_x0000_s3131" name="Acrobat Document" r:id="rId4" imgW="3997080" imgH="3997080" progId="Acrobat.Document.DC">
              <p:embed/>
            </p:oleObj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83844" y="737775"/>
            <a:ext cx="8229600" cy="1143000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en-US" sz="3200" dirty="0" smtClean="0">
                <a:latin typeface="Times New Roman" panose="02020603050405020304" pitchFamily="18" charset="0"/>
                <a:ea typeface="Times New Roman" panose="02020603050405020304" pitchFamily="18" charset="0"/>
                <a:hlinkClick r:id="rId5"/>
              </a:rPr>
              <a:t>https</a:t>
            </a:r>
            <a:r>
              <a:rPr lang="en-US" sz="3200" dirty="0">
                <a:latin typeface="Times New Roman" panose="02020603050405020304" pitchFamily="18" charset="0"/>
                <a:ea typeface="Times New Roman" panose="02020603050405020304" pitchFamily="18" charset="0"/>
                <a:hlinkClick r:id="rId5"/>
              </a:rPr>
              <a:t>://</a:t>
            </a:r>
            <a:r>
              <a:rPr lang="en-US" sz="3200" dirty="0">
                <a:latin typeface="YS Text"/>
                <a:ea typeface="+mn-ea"/>
                <a:cs typeface="+mn-cs"/>
                <a:hlinkClick r:id="rId5"/>
              </a:rPr>
              <a:t>disk.yandex.ru/i/LdSHz6f5w_0cKw</a:t>
            </a: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/>
            </a:r>
            <a:br>
              <a:rPr lang="ru-RU" sz="3200" dirty="0" smtClean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ru-RU" sz="3200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/>
          </p:nvPr>
        </p:nvGraphicFramePr>
        <p:xfrm>
          <a:off x="2460625" y="1752600"/>
          <a:ext cx="4279999" cy="4279999"/>
        </p:xfrm>
        <a:graphic>
          <a:graphicData uri="http://schemas.openxmlformats.org/presentationml/2006/ole">
            <p:oleObj spid="_x0000_s3132" name="Acrobat Document" r:id="rId6" imgW="2400480" imgH="2400480" progId="Acrobat.Document.DC">
              <p:embed/>
            </p:oleObj>
          </a:graphicData>
        </a:graphic>
      </p:graphicFrame>
      <p:graphicFrame>
        <p:nvGraphicFramePr>
          <p:cNvPr id="8" name="Объект 7"/>
          <p:cNvGraphicFramePr>
            <a:graphicFrameLocks noChangeAspect="1"/>
          </p:cNvGraphicFramePr>
          <p:nvPr>
            <p:extLst/>
          </p:nvPr>
        </p:nvGraphicFramePr>
        <p:xfrm>
          <a:off x="2051720" y="1469322"/>
          <a:ext cx="4536504" cy="4536504"/>
        </p:xfrm>
        <a:graphic>
          <a:graphicData uri="http://schemas.openxmlformats.org/presentationml/2006/ole">
            <p:oleObj spid="_x0000_s3133" name="Acrobat Document" r:id="rId7" imgW="2400480" imgH="2400480" progId="Acrobat.Document.DC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439251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332657"/>
            <a:ext cx="8229600" cy="432048"/>
          </a:xfrm>
        </p:spPr>
        <p:txBody>
          <a:bodyPr>
            <a:normAutofit/>
          </a:bodyPr>
          <a:lstStyle/>
          <a:p>
            <a:pPr algn="l"/>
            <a:r>
              <a:rPr lang="ru-RU" sz="1600" dirty="0" smtClean="0"/>
              <a:t>            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7" name="Объект 2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0984" y="928670"/>
            <a:ext cx="3933793" cy="5000660"/>
          </a:xfr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C7F4D-E65F-462B-8A35-B149C55565DD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1165082" y="669774"/>
            <a:ext cx="6957847" cy="94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-5729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9904" y="146671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04" y="5754631"/>
            <a:ext cx="7842956" cy="96684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00562" y="928669"/>
            <a:ext cx="4214842" cy="5017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379275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332657"/>
            <a:ext cx="8229600" cy="432048"/>
          </a:xfrm>
        </p:spPr>
        <p:txBody>
          <a:bodyPr>
            <a:normAutofit/>
          </a:bodyPr>
          <a:lstStyle/>
          <a:p>
            <a:pPr algn="l"/>
            <a:r>
              <a:rPr lang="ru-RU" sz="1600" dirty="0" smtClean="0"/>
              <a:t>            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C7F4D-E65F-462B-8A35-B149C55565DD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1165082" y="669774"/>
            <a:ext cx="6957847" cy="94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-5729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9904" y="146671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904" y="5754631"/>
            <a:ext cx="7842956" cy="9668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862" b="17156"/>
          <a:stretch>
            <a:fillRect/>
          </a:stretch>
        </p:blipFill>
        <p:spPr>
          <a:xfrm>
            <a:off x="1214414" y="3000372"/>
            <a:ext cx="2714644" cy="2764641"/>
          </a:xfrm>
          <a:prstGeom prst="rect">
            <a:avLst/>
          </a:prstGeom>
        </p:spPr>
      </p:pic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1457175" y="543033"/>
            <a:ext cx="2300560" cy="2786082"/>
          </a:xfr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622" b="20507"/>
          <a:stretch>
            <a:fillRect/>
          </a:stretch>
        </p:blipFill>
        <p:spPr>
          <a:xfrm>
            <a:off x="5357819" y="714356"/>
            <a:ext cx="3000395" cy="256716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784" r="10608" b="13141"/>
          <a:stretch>
            <a:fillRect/>
          </a:stretch>
        </p:blipFill>
        <p:spPr>
          <a:xfrm>
            <a:off x="5357818" y="3071810"/>
            <a:ext cx="3000396" cy="278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286028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14</a:t>
            </a:fld>
            <a:endParaRPr lang="ru-RU" dirty="0"/>
          </a:p>
        </p:txBody>
      </p:sp>
      <p:pic>
        <p:nvPicPr>
          <p:cNvPr id="409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4821" y="476673"/>
            <a:ext cx="8017619" cy="5922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257603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15</a:t>
            </a:fld>
            <a:endParaRPr lang="ru-RU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576" y="908720"/>
            <a:ext cx="7488832" cy="4608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5736" y="5584069"/>
            <a:ext cx="9073008" cy="653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08594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Челябинская область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6773" y="0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8662" y="790764"/>
            <a:ext cx="7929618" cy="556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xmlns="" val="28871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97767" y="6446108"/>
            <a:ext cx="466157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60 -120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1167722"/>
              </p:ext>
            </p:extLst>
          </p:nvPr>
        </p:nvGraphicFramePr>
        <p:xfrm>
          <a:off x="483844" y="1603534"/>
          <a:ext cx="1751856" cy="315713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0133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иректор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колы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8241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</a:t>
                      </a:r>
                      <a:endParaRPr kumimoji="0" lang="ru-RU" alt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7339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- 5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81312653"/>
              </p:ext>
            </p:extLst>
          </p:nvPr>
        </p:nvGraphicFramePr>
        <p:xfrm>
          <a:off x="4034129" y="4374976"/>
          <a:ext cx="4818510" cy="207642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185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</a:t>
                      </a:r>
                      <a:endParaRPr kumimoji="0" lang="ru-RU" alt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Несвоевременная связь с законными представителями обучающихся</a:t>
                      </a:r>
                      <a:endParaRPr kumimoji="0" lang="ru-RU" alt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.</a:t>
                      </a:r>
                      <a:r>
                        <a:rPr kumimoji="0" lang="ru-RU" alt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поздания со стороны обучающихся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Нет единой формы бланка учета посещаемости обучающихся школы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3597324" y="4240833"/>
            <a:ext cx="321469" cy="2068487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859339" y="3933056"/>
            <a:ext cx="40360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4270419" y="1136138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4" name="Пятно 1 60"/>
          <p:cNvSpPr/>
          <p:nvPr/>
        </p:nvSpPr>
        <p:spPr>
          <a:xfrm>
            <a:off x="8249263" y="11111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6527256" y="110469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  Карт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 проект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«Оптимизация процесса мониторинга посещаемости уроков обучающимися  МБОУ ООШ № 9»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70082812"/>
              </p:ext>
            </p:extLst>
          </p:nvPr>
        </p:nvGraphicFramePr>
        <p:xfrm>
          <a:off x="2740598" y="1603534"/>
          <a:ext cx="1751856" cy="191311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29322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Несвоевременная связь с законными представителями обучающихся</a:t>
                      </a:r>
                      <a:endParaRPr kumimoji="0" lang="ru-RU" alt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114300" marR="0" lvl="1" indent="-114300" algn="l" defTabSz="66675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Tx/>
                        <a:buSzTx/>
                        <a:buFontTx/>
                        <a:buChar char="••"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>
                            <a:hueOff val="0"/>
                            <a:satOff val="0"/>
                            <a:lumOff val="0"/>
                            <a:alphaOff val="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4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80744681"/>
              </p:ext>
            </p:extLst>
          </p:nvPr>
        </p:nvGraphicFramePr>
        <p:xfrm>
          <a:off x="4932040" y="1603535"/>
          <a:ext cx="1709242" cy="199310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092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047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Классные руководители</a:t>
                      </a:r>
                    </a:p>
                    <a:p>
                      <a:pPr algn="ctr">
                        <a:defRPr/>
                      </a:pP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9210">
                <a:tc>
                  <a:txBody>
                    <a:bodyPr/>
                    <a:lstStyle/>
                    <a:p>
                      <a:pPr lvl="0"/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поздания со стороны обучающихся</a:t>
                      </a:r>
                      <a:endParaRPr lang="ru-RU" sz="1200" dirty="0"/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953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94293885"/>
              </p:ext>
            </p:extLst>
          </p:nvPr>
        </p:nvGraphicFramePr>
        <p:xfrm>
          <a:off x="6985306" y="1643238"/>
          <a:ext cx="1751856" cy="178576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циальный педагог</a:t>
                      </a:r>
                      <a:endParaRPr kumimoji="0" lang="ru-RU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 единой формы бланка учета посещаемости обучающихся школы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6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7" name="Пятно 1 60"/>
          <p:cNvSpPr/>
          <p:nvPr/>
        </p:nvSpPr>
        <p:spPr>
          <a:xfrm>
            <a:off x="1945767" y="1111104"/>
            <a:ext cx="7985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4049572265"/>
              </p:ext>
            </p:extLst>
          </p:nvPr>
        </p:nvGraphicFramePr>
        <p:xfrm>
          <a:off x="123844" y="1284464"/>
          <a:ext cx="8840644" cy="51782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19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0645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5636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</a:t>
                      </a: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10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тсутствие локального акта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оздание локального акта, регламентирующего процесс контроля посещаемости занятий.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237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Несвоевременная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связь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с законными представителями обучающихся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тсутствие контактной информации 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воевременная связь с законными представителями обучающихся. Обмен необходимой информацией в единой платформе «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ферум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». 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15479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поздания со стороны обучающихся.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Отсутствие контроля со стороны законных представителей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Проведение индивидуально</a:t>
                      </a:r>
                      <a:r>
                        <a:rPr lang="ru-RU" sz="12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-профилактических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бесед с законными представителями и обучающимися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2004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Нет единой формы бланка учета посещаемости обучающихся школы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Отсутствие локального акта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Разработка единой формы бланка учета посещаемости обучающихся с указанием причины отсутствия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5082" y="657880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57752" y="1196752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шить на региональном уровне –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2" y="2143112"/>
            <a:ext cx="3746698" cy="781832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ебуется решить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ом уровне-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5714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857750" y="3212976"/>
            <a:ext cx="4000530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облемы, решение которых требуется решить на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уровне МБОУ ООШ № 9</a:t>
            </a:r>
          </a:p>
          <a:p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defRPr/>
            </a:pPr>
            <a:r>
              <a:rPr lang="ru-RU" sz="14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четкого, зафиксированного в нормативных документах, алгоритма контроля посещаемости занятий</a:t>
            </a:r>
            <a:endParaRPr lang="ru-RU" alt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2. Несвоевременная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вязь с законными представителями обучающихся</a:t>
            </a:r>
            <a:endParaRPr lang="ru-RU" alt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/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3. Опоздания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со стороны обучающихся. </a:t>
            </a:r>
            <a:endParaRPr lang="ru-RU" altLang="ru-RU" sz="12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defRPr/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Нет </a:t>
            </a: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диной формы бланка учета посещаемости обучающихся школы</a:t>
            </a:r>
            <a:endParaRPr lang="ru-RU" sz="12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ctr">
              <a:defRPr/>
            </a:pPr>
            <a:endParaRPr lang="ru-RU" altLang="ru-RU" sz="14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10923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23845" y="6446108"/>
            <a:ext cx="473549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0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45562521"/>
              </p:ext>
            </p:extLst>
          </p:nvPr>
        </p:nvGraphicFramePr>
        <p:xfrm>
          <a:off x="483844" y="1603534"/>
          <a:ext cx="1751856" cy="238283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8530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едаго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Создание локального акта, регламентирующего процесс контроля посещаемости занятий. 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7339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93783282"/>
              </p:ext>
            </p:extLst>
          </p:nvPr>
        </p:nvGraphicFramePr>
        <p:xfrm>
          <a:off x="3395590" y="4240833"/>
          <a:ext cx="5432766" cy="293378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4327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56319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Создание локального акта, регламентирующего процесс контроля посещаемости занятий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5581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Проведение родительского собрания ,индивидуальных бесед с законными представителями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Обмен необходимой информацией в единой платформе «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Сферум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»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1923">
                <a:tc>
                  <a:txBody>
                    <a:bodyPr/>
                    <a:lstStyle/>
                    <a:p>
                      <a:pPr marL="0" marR="0" lvl="1" indent="0" algn="l" defTabSz="66675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Проведение индивидуально – профилактических бесед с законными представителями и обучающимися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>
                            <a:hueOff val="0"/>
                            <a:satOff val="0"/>
                            <a:lumOff val="0"/>
                            <a:alphaOff val="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605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+mn-cs"/>
                        </a:rPr>
                        <a:t> </a:t>
                      </a:r>
                      <a:r>
                        <a:rPr kumimoji="0" lang="ru-RU" alt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Разработка единой формы бланка учета посещаемости обучающихся с указанием причины отсутствия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60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60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58900" y="4240833"/>
            <a:ext cx="321469" cy="2068487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396783" y="3798912"/>
            <a:ext cx="43468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ПРЕДЛОЖЕНИЯ ПО УЛУЧШЕНИЮ:</a:t>
            </a:r>
            <a:endParaRPr lang="ru-RU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Пятно 1 60"/>
          <p:cNvSpPr/>
          <p:nvPr/>
        </p:nvSpPr>
        <p:spPr>
          <a:xfrm>
            <a:off x="2094485" y="1152667"/>
            <a:ext cx="646113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rgbClr val="00B050"/>
                </a:solidFill>
                <a:cs typeface="Arial" pitchFamily="34" charset="0"/>
              </a:rPr>
              <a:t>1</a:t>
            </a:r>
            <a:endParaRPr lang="ru-RU" sz="800" b="1" dirty="0">
              <a:solidFill>
                <a:srgbClr val="00B050"/>
              </a:solidFill>
              <a:cs typeface="Arial" pitchFamily="34" charset="0"/>
            </a:endParaRPr>
          </a:p>
        </p:txBody>
      </p:sp>
      <p:sp>
        <p:nvSpPr>
          <p:cNvPr id="84" name="Пятно 1 60"/>
          <p:cNvSpPr/>
          <p:nvPr/>
        </p:nvSpPr>
        <p:spPr>
          <a:xfrm>
            <a:off x="8249263" y="1111104"/>
            <a:ext cx="646113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4396783" y="1104697"/>
            <a:ext cx="646112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97767" y="465221"/>
            <a:ext cx="889362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екта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Оптимизация процесса мониторинга посещаемости уроков обучающимися  МБОУ ООШ № 9»</a:t>
            </a:r>
          </a:p>
          <a:p>
            <a:pPr algn="ctr"/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25961899"/>
              </p:ext>
            </p:extLst>
          </p:nvPr>
        </p:nvGraphicFramePr>
        <p:xfrm>
          <a:off x="2687645" y="1587630"/>
          <a:ext cx="1751856" cy="230961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ководи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3689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-Проведение родительского 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собрания,индивидуальных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 бесед с законными представителями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Обмен необходимой информацией в единой платформе «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Сферум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».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56147480"/>
              </p:ext>
            </p:extLst>
          </p:nvPr>
        </p:nvGraphicFramePr>
        <p:xfrm>
          <a:off x="4927145" y="1601438"/>
          <a:ext cx="1751856" cy="211821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5033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лассные руководител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96622">
                <a:tc>
                  <a:txBody>
                    <a:bodyPr/>
                    <a:lstStyle/>
                    <a:p>
                      <a:pPr marL="0" marR="0" lvl="1" indent="0" algn="l" defTabSz="66675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Проведение индивидуально – профилактических бесед с законными представителями и обучающимися</a:t>
                      </a: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>
                            <a:hueOff val="0"/>
                            <a:satOff val="0"/>
                            <a:lumOff val="0"/>
                            <a:alphaOff val="0"/>
                          </a:prst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lvl="0"/>
                      <a:endParaRPr lang="ru-RU" sz="1200" dirty="0"/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983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28178162"/>
              </p:ext>
            </p:extLst>
          </p:nvPr>
        </p:nvGraphicFramePr>
        <p:xfrm>
          <a:off x="6985306" y="1577081"/>
          <a:ext cx="1751856" cy="2211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циальный педагог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25400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Разработка единой формы бланка учета посещаемости обучающихся с указанием причины отсутствия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algn="ctr" defTabSz="914400" rtl="0" eaLnBrk="1" latinLnBrk="0" hangingPunct="1">
                        <a:defRPr/>
                      </a:pP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25400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008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Пятно 1 60"/>
          <p:cNvSpPr/>
          <p:nvPr/>
        </p:nvSpPr>
        <p:spPr>
          <a:xfrm>
            <a:off x="6527256" y="1153288"/>
            <a:ext cx="646112" cy="504825"/>
          </a:xfrm>
          <a:prstGeom prst="irregularSeal1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1780069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4" name="think-cell Slide" r:id="rId4" imgW="360" imgH="360" progId="">
              <p:embed/>
            </p:oleObj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766983724"/>
              </p:ext>
            </p:extLst>
          </p:nvPr>
        </p:nvGraphicFramePr>
        <p:xfrm>
          <a:off x="123844" y="968222"/>
          <a:ext cx="8912652" cy="61571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9834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8502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alt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четкого, зафиксированного в нормативных документах, алгоритма контроля посещаемости занятий.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Создание локального акта, регламентирующего процесс контроля посещаемости занятий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иректор, Елена Сергеевна 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оробейникова</a:t>
                      </a:r>
                      <a:endParaRPr lang="ru-RU" sz="11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02.2024 -23.02.2024г</a:t>
                      </a:r>
                      <a:endParaRPr lang="ru-RU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здан приказ, в котором регламентируется процесс контроля посещаемости 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нятий.Введение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замечаний за несвоевременный контроль отсутствующих к учителям-предметникам, классным руководителям.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Несвоевременная связь с законными представителями обучающихся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Проведение родительского </a:t>
                      </a:r>
                      <a:r>
                        <a:rPr lang="ru-RU" sz="12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собрания,индивидуальных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бесед с законными представителями.</a:t>
                      </a:r>
                      <a:endParaRPr lang="ru-RU" sz="12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Заместитель директора по УВР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Евсеева Л.Ю., социальный педагог Первушина Е.Ю.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26.02.2024 -29.02.2024г</a:t>
                      </a:r>
                      <a:endParaRPr kumimoji="0" lang="ru-RU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Своевременная связь с законными представителями обучающихся. Обмен необходимой информацией в единой платформе «</a:t>
                      </a:r>
                      <a:r>
                        <a:rPr lang="ru-RU" sz="1200" dirty="0" err="1" smtClean="0">
                          <a:effectLst/>
                          <a:latin typeface="Times New Roman"/>
                          <a:ea typeface="Calibri"/>
                        </a:rPr>
                        <a:t>Сферум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»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 Опоздания со стороны обучающихся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Проведение</a:t>
                      </a:r>
                      <a:r>
                        <a:rPr lang="ru-RU" sz="1200" baseline="0" dirty="0" smtClean="0">
                          <a:effectLst/>
                          <a:latin typeface="Times New Roman"/>
                          <a:ea typeface="Calibri"/>
                        </a:rPr>
                        <a:t> 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индивидуально – профилактических бесед с законными представителями и обучающимися.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Заместитель директора по УВР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Евсеева Л.Ю., социальный педагог Первушина Е.Ю.,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руководители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Times New Roman"/>
                        </a:rPr>
                        <a:t>26.02.2024 -29.02.2024г</a:t>
                      </a:r>
                      <a:endParaRPr kumimoji="0" lang="ru-RU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Отсутствие обучающихся, опаздывающих на первый урок.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2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т единой формы бланка учета посещаемости обучающихся  школы</a:t>
                      </a:r>
                      <a:endParaRPr lang="ru-RU" altLang="ru-RU" sz="12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</a:rPr>
                        <a:t>Разработка единой формы бланка учета посещаемости обучающихся с указанием причины отсутствия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Заместитель директора по </a:t>
                      </a:r>
                      <a:r>
                        <a:rPr lang="ru-RU" sz="1200" dirty="0" err="1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учебно</a:t>
                      </a: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 – воспитательной работе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Лилия Юрьевна Евсеева, социальный педагог Елена Юрьевна Первушина</a:t>
                      </a: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26.02.2024 -29.02.2024г</a:t>
                      </a:r>
                      <a:endParaRPr lang="ru-RU" sz="105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/>
                          <a:ea typeface="Calibri"/>
                          <a:cs typeface="Times New Roman"/>
                        </a:rPr>
                        <a:t>Разработана и утверждена приказом единая форма бланка учета посещаемости обучающихся с указанием причины отсутствия, размещение ее электронного варианта в учительской в общедоступном компьютере</a:t>
                      </a:r>
                      <a:endParaRPr lang="ru-RU" sz="12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120 минут</a:t>
            </a:r>
            <a:endParaRPr lang="ru-RU" sz="28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 smtClean="0">
                <a:solidFill>
                  <a:srgbClr val="0B7B87"/>
                </a:solidFill>
                <a:cs typeface="Arial" panose="020B0604020202020204" pitchFamily="34" charset="0"/>
              </a:rPr>
              <a:t>30 минут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ходе реализации проекта временные затраты на сбор данных о посещаемости  сократились в 4 раза с 120 минут до 30 минут.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1520" y="4982770"/>
            <a:ext cx="820826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defRPr/>
            </a:pP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ой </a:t>
            </a: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лайн </a:t>
            </a: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на Яндекс -диске </a:t>
            </a: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автоматическим подсчетом </a:t>
            </a: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ых, автоматической обработки </a:t>
            </a: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дачи </a:t>
            </a:r>
            <a:r>
              <a:rPr lang="ru-RU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и о </a:t>
            </a:r>
            <a:r>
              <a:rPr 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ещаемости. </a:t>
            </a:r>
            <a:endParaRPr lang="ru-RU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93887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649882" y="959978"/>
            <a:ext cx="8064896" cy="5349342"/>
          </a:xfrm>
        </p:spPr>
        <p:txBody>
          <a:bodyPr>
            <a:normAutofit fontScale="92500" lnSpcReduction="20000"/>
          </a:bodyPr>
          <a:lstStyle/>
          <a:p>
            <a:r>
              <a:rPr lang="ru-RU" sz="2800" b="1" dirty="0"/>
              <a:t>В ходе реализации плана мероприятий были проведены следующие мероприятия</a:t>
            </a:r>
            <a:r>
              <a:rPr lang="ru-RU" sz="2800" dirty="0"/>
              <a:t>: </a:t>
            </a:r>
          </a:p>
          <a:p>
            <a:r>
              <a:rPr lang="ru-RU" sz="2800" dirty="0"/>
              <a:t>1. Разработано Положение, регламентирующего процесс контроля посещаемости занятий</a:t>
            </a:r>
          </a:p>
          <a:p>
            <a:r>
              <a:rPr lang="ru-RU" sz="2800" dirty="0"/>
              <a:t>2. Проведены  родительские  собрания, индивидуальные беседы с  родителями об ответственности по обучению и воспитанию обучающихся.</a:t>
            </a:r>
          </a:p>
          <a:p>
            <a:r>
              <a:rPr lang="ru-RU" sz="2800" dirty="0"/>
              <a:t>3. </a:t>
            </a:r>
            <a:r>
              <a:rPr lang="ru-RU" sz="2800" dirty="0" smtClean="0"/>
              <a:t>Проведены </a:t>
            </a:r>
            <a:r>
              <a:rPr lang="ru-RU" sz="2800" dirty="0"/>
              <a:t>индивидуально – </a:t>
            </a:r>
            <a:r>
              <a:rPr lang="ru-RU" sz="2800" dirty="0" smtClean="0"/>
              <a:t>профилактические беседы </a:t>
            </a:r>
            <a:r>
              <a:rPr lang="ru-RU" sz="2800" dirty="0"/>
              <a:t>с родителями ( законными представителями) и обучающимися по устранению опозданий на уроки.</a:t>
            </a:r>
          </a:p>
          <a:p>
            <a:r>
              <a:rPr lang="ru-RU" sz="2800" dirty="0"/>
              <a:t>4. </a:t>
            </a:r>
            <a:r>
              <a:rPr lang="ru-RU" sz="2800" dirty="0" smtClean="0"/>
              <a:t>Разработана </a:t>
            </a:r>
            <a:r>
              <a:rPr lang="ru-RU" sz="2800" dirty="0"/>
              <a:t>единая Таблица учета посещаемости обучающихся с указанием причины отсутствия</a:t>
            </a:r>
          </a:p>
          <a:p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-5729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483105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34</TotalTime>
  <Words>1014</Words>
  <Application>Microsoft Office PowerPoint</Application>
  <PresentationFormat>Экран (4:3)</PresentationFormat>
  <Paragraphs>193</Paragraphs>
  <Slides>1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19" baseType="lpstr">
      <vt:lpstr>Тема Office</vt:lpstr>
      <vt:lpstr>1_Тема Office</vt:lpstr>
      <vt:lpstr>think-cell Slide</vt:lpstr>
      <vt:lpstr>Acrobat Document</vt:lpstr>
      <vt:lpstr>Челябинская область</vt:lpstr>
      <vt:lpstr>Слайд 2</vt:lpstr>
      <vt:lpstr>Слайд 3</vt:lpstr>
      <vt:lpstr>Челябинская область</vt:lpstr>
      <vt:lpstr>Слайд 5</vt:lpstr>
      <vt:lpstr>Слайд 6</vt:lpstr>
      <vt:lpstr>Слайд 7</vt:lpstr>
      <vt:lpstr>Достигнутые результаты (было и стало) </vt:lpstr>
      <vt:lpstr>Челябинская область</vt:lpstr>
      <vt:lpstr>Челябинская область</vt:lpstr>
      <vt:lpstr>    https://disk.yandex.ru/i/LdSHz6f5w_0cKw     </vt:lpstr>
      <vt:lpstr>             Челябинская область</vt:lpstr>
      <vt:lpstr>             Челябинская область</vt:lpstr>
      <vt:lpstr>Слайд 14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Admin</cp:lastModifiedBy>
  <cp:revision>186</cp:revision>
  <cp:lastPrinted>2019-04-25T09:14:46Z</cp:lastPrinted>
  <dcterms:created xsi:type="dcterms:W3CDTF">2018-08-20T14:01:12Z</dcterms:created>
  <dcterms:modified xsi:type="dcterms:W3CDTF">2024-05-21T03:50:01Z</dcterms:modified>
</cp:coreProperties>
</file>